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9"/>
  </p:notesMasterIdLst>
  <p:handoutMasterIdLst>
    <p:handoutMasterId r:id="rId30"/>
  </p:handoutMasterIdLst>
  <p:sldIdLst>
    <p:sldId id="258" r:id="rId8"/>
    <p:sldId id="339" r:id="rId9"/>
    <p:sldId id="259" r:id="rId10"/>
    <p:sldId id="816" r:id="rId11"/>
    <p:sldId id="822" r:id="rId12"/>
    <p:sldId id="823" r:id="rId13"/>
    <p:sldId id="826" r:id="rId14"/>
    <p:sldId id="827" r:id="rId15"/>
    <p:sldId id="814" r:id="rId16"/>
    <p:sldId id="810" r:id="rId17"/>
    <p:sldId id="815" r:id="rId18"/>
    <p:sldId id="809" r:id="rId19"/>
    <p:sldId id="830" r:id="rId20"/>
    <p:sldId id="828" r:id="rId21"/>
    <p:sldId id="829" r:id="rId22"/>
    <p:sldId id="511" r:id="rId23"/>
    <p:sldId id="418" r:id="rId24"/>
    <p:sldId id="803" r:id="rId25"/>
    <p:sldId id="802" r:id="rId26"/>
    <p:sldId id="808" r:id="rId27"/>
    <p:sldId id="807" r:id="rId28"/>
  </p:sldIdLst>
  <p:sldSz cx="9215438" cy="5184775"/>
  <p:notesSz cx="6805613" cy="9939338"/>
  <p:custDataLst>
    <p:tags r:id="rId31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22"/>
            <p14:sldId id="823"/>
            <p14:sldId id="826"/>
            <p14:sldId id="827"/>
            <p14:sldId id="814"/>
            <p14:sldId id="810"/>
            <p14:sldId id="815"/>
            <p14:sldId id="809"/>
            <p14:sldId id="830"/>
            <p14:sldId id="828"/>
            <p14:sldId id="829"/>
            <p14:sldId id="511"/>
            <p14:sldId id="418"/>
          </p14:sldIdLst>
        </p14:section>
        <p14:section name="REFERENCES" id="{88508D9C-F6AC-F84F-9A5F-4800ADA716FF}">
          <p14:sldIdLst>
            <p14:sldId id="803"/>
            <p14:sldId id="802"/>
            <p14:sldId id="808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808" y="72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52056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2663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5278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40673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PLC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</a:t>
            </a:r>
            <a:r>
              <a:rPr lang="de-DE" b="1" dirty="0" err="1"/>
              <a:t>tech</a:t>
            </a:r>
            <a:r>
              <a:rPr lang="de-DE" b="1" dirty="0"/>
              <a:t> </a:t>
            </a:r>
            <a:r>
              <a:rPr lang="de-DE" b="1" dirty="0" err="1"/>
              <a:t>sportS</a:t>
            </a:r>
            <a:r>
              <a:rPr lang="de-DE" b="1" dirty="0"/>
              <a:t>: “</a:t>
            </a:r>
            <a:r>
              <a:rPr lang="en-US" b="1" dirty="0"/>
              <a:t>PROJECT NAME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OCU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BE CONC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HAT DID YOU D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HAT IS THE VALU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HOW IS IT DIFFERENT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VALU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HY DOES IT MAT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HO DOES IT IMPA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WHERE IS THE BUSINESS OPORTUNITY?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067996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KE IT RE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1B2C3C-168F-42E1-981A-39C6DA61B25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A74685-9FAA-4757-B830-9D920B3A10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76D583-110D-4FC9-AD5C-9FB37895A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636BD9-5313-49D0-BB02-745E12A95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77" y="268287"/>
            <a:ext cx="5886450" cy="4648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88133C-04D4-4824-B55B-6112376C2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4234" y="2116137"/>
            <a:ext cx="28194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59755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31F777-7F20-44C2-B803-CF9207FA94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575C94-9FB2-4E22-9CD2-E19E584158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B97301-97D3-4D68-86CD-364A686AD3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8" name="Jugada1">
            <a:hlinkClick r:id="" action="ppaction://media"/>
            <a:extLst>
              <a:ext uri="{FF2B5EF4-FFF2-40B4-BE49-F238E27FC236}">
                <a16:creationId xmlns:a16="http://schemas.microsoft.com/office/drawing/2014/main" id="{D6C89AEB-9F8C-47C7-9160-48B13C6EDFE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652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501987-89C0-4680-86FD-3A747BE6045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81591-0EE8-4B4F-A431-AB3D68D411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AD67B2-EBC0-4395-B57C-C3695DDA7E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8" name="video2">
            <a:hlinkClick r:id="" action="ppaction://media"/>
            <a:extLst>
              <a:ext uri="{FF2B5EF4-FFF2-40B4-BE49-F238E27FC236}">
                <a16:creationId xmlns:a16="http://schemas.microsoft.com/office/drawing/2014/main" id="{8C221C43-06AC-47FD-9F83-322F742C417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525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6EA213B2-0A38-1D43-B688-78BDB5EBF0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remember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Get something working (</a:t>
            </a:r>
            <a:r>
              <a:rPr lang="en-US" b="1" dirty="0" err="1"/>
              <a:t>PoC</a:t>
            </a:r>
            <a:r>
              <a:rPr lang="en-US" b="1" dirty="0"/>
              <a:t>)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Use all your technical skills</a:t>
            </a: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ry to create a real business impact  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o prepare a nice presentation (recorded demo)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91285891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549F0B80-1E0F-B542-A09F-97C3CFAC48D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ShoW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A STORY THAT OTHERS CAN REMEMB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FIND REAL TANGIBLE VALU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KEEP IT FOCUS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MAKE THE EXPERIENCE LIVE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490215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Jorge serrano </a:t>
            </a:r>
            <a:r>
              <a:rPr lang="en-GB" dirty="0" err="1"/>
              <a:t>ibáñez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Tomás </a:t>
            </a:r>
            <a:r>
              <a:rPr lang="en-GB" dirty="0" err="1"/>
              <a:t>Pelayo</a:t>
            </a:r>
            <a:r>
              <a:rPr lang="en-GB" dirty="0"/>
              <a:t> </a:t>
            </a:r>
            <a:r>
              <a:rPr lang="en-GB" dirty="0" err="1"/>
              <a:t>benedet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dirty="0"/>
              <a:t>Jorge </a:t>
            </a:r>
            <a:r>
              <a:rPr lang="en-GB" dirty="0" err="1"/>
              <a:t>romanos</a:t>
            </a:r>
            <a:r>
              <a:rPr lang="en-GB" dirty="0"/>
              <a:t> </a:t>
            </a:r>
            <a:r>
              <a:rPr lang="en-GB" dirty="0" err="1"/>
              <a:t>pajares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  <a:p>
            <a:endParaRPr lang="en-GB" dirty="0"/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5326460-45DE-474B-B5C2-7FC5AD8BF4B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9093" r="9093"/>
          <a:stretch>
            <a:fillRect/>
          </a:stretch>
        </p:blipFill>
        <p:spPr/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593CBF-F063-4B40-8083-F893C6B080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E1D3074-78F9-C14D-85A3-0820C37EE9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451D926-0F2D-F345-9DA7-0043160E07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Judging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criteria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TECHNICAL IMPLEMENTATION AND </a:t>
            </a:r>
            <a:r>
              <a:rPr lang="es-ES" b="1" dirty="0"/>
              <a:t>COLLABORATION</a:t>
            </a:r>
            <a:r>
              <a:rPr lang="es-ES" dirty="0"/>
              <a:t> FOR THE USE OF HETEROGENEOUS TECHNOLOGIE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CONFIDENCE</a:t>
            </a:r>
            <a:r>
              <a:rPr lang="es-ES" dirty="0"/>
              <a:t> TO ADD VALUE AND CREATE A REAL-LIFE BUSINESS IMPACT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EFFECTIVE </a:t>
            </a:r>
            <a:r>
              <a:rPr lang="es-ES" b="1" dirty="0"/>
              <a:t>COMMUNICATION</a:t>
            </a:r>
            <a:r>
              <a:rPr lang="es-ES" dirty="0"/>
              <a:t> AND SUMMARY OF RESULT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INNOVATION AND </a:t>
            </a:r>
            <a:r>
              <a:rPr lang="es-ES" b="1" dirty="0"/>
              <a:t>CREATIVITY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09789744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342CA01F-6A77-8443-A6C9-2861BC5F26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/>
                </a:solidFill>
              </a:rPr>
              <a:t>ru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Only</a:t>
            </a:r>
            <a:r>
              <a:rPr lang="es-ES" dirty="0"/>
              <a:t> </a:t>
            </a:r>
            <a:r>
              <a:rPr lang="es-ES" b="1" dirty="0" err="1"/>
              <a:t>genuine</a:t>
            </a:r>
            <a:r>
              <a:rPr lang="es-ES" b="1" dirty="0"/>
              <a:t> </a:t>
            </a:r>
            <a:r>
              <a:rPr lang="es-ES" b="1" dirty="0" err="1"/>
              <a:t>work</a:t>
            </a:r>
            <a:r>
              <a:rPr lang="es-ES" dirty="0"/>
              <a:t> done </a:t>
            </a:r>
            <a:r>
              <a:rPr lang="es-ES" dirty="0" err="1"/>
              <a:t>along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hackathon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be </a:t>
            </a:r>
            <a:r>
              <a:rPr lang="es-ES" dirty="0" err="1"/>
              <a:t>evaluated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OPEN SOURCE </a:t>
            </a:r>
            <a:r>
              <a:rPr lang="es-ES" dirty="0" err="1"/>
              <a:t>by</a:t>
            </a:r>
            <a:r>
              <a:rPr lang="es-ES" dirty="0"/>
              <a:t> defaul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The</a:t>
            </a:r>
            <a:r>
              <a:rPr lang="es-ES" dirty="0"/>
              <a:t> more </a:t>
            </a:r>
            <a:r>
              <a:rPr lang="es-ES" b="1" dirty="0" err="1"/>
              <a:t>relevant</a:t>
            </a:r>
            <a:r>
              <a:rPr lang="es-ES" dirty="0"/>
              <a:t> to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llenge</a:t>
            </a:r>
            <a:r>
              <a:rPr lang="es-ES" dirty="0"/>
              <a:t> </a:t>
            </a:r>
            <a:r>
              <a:rPr lang="es-ES" dirty="0" err="1"/>
              <a:t>topic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etter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 err="1"/>
              <a:t>All</a:t>
            </a:r>
            <a:r>
              <a:rPr lang="es-ES" b="1" dirty="0"/>
              <a:t> </a:t>
            </a:r>
            <a:r>
              <a:rPr lang="es-ES" b="1" dirty="0" err="1"/>
              <a:t>technical</a:t>
            </a:r>
            <a:r>
              <a:rPr lang="es-ES" b="1" dirty="0"/>
              <a:t> </a:t>
            </a:r>
            <a:r>
              <a:rPr lang="es-ES" b="1" dirty="0" err="1"/>
              <a:t>skills</a:t>
            </a:r>
            <a:r>
              <a:rPr lang="es-ES" b="1" dirty="0"/>
              <a:t> </a:t>
            </a:r>
            <a:r>
              <a:rPr lang="es-ES" dirty="0"/>
              <a:t>are </a:t>
            </a:r>
            <a:r>
              <a:rPr lang="es-ES" dirty="0" err="1"/>
              <a:t>welcome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Presentations</a:t>
            </a:r>
            <a:r>
              <a:rPr lang="es-ES" b="1" dirty="0"/>
              <a:t>: 6 + 2 + 2</a:t>
            </a:r>
          </a:p>
          <a:p>
            <a:pPr algn="l"/>
            <a:r>
              <a:rPr lang="es-ES" dirty="0"/>
              <a:t>(6 </a:t>
            </a:r>
            <a:r>
              <a:rPr lang="es-ES" dirty="0" err="1"/>
              <a:t>mins</a:t>
            </a:r>
            <a:r>
              <a:rPr lang="es-ES" dirty="0"/>
              <a:t> pitch + 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questions</a:t>
            </a:r>
            <a:r>
              <a:rPr lang="es-ES" dirty="0"/>
              <a:t> + </a:t>
            </a:r>
          </a:p>
          <a:p>
            <a:pPr algn="l"/>
            <a:r>
              <a:rPr lang="es-ES" dirty="0"/>
              <a:t>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switching</a:t>
            </a:r>
            <a:r>
              <a:rPr lang="es-ES" dirty="0"/>
              <a:t> </a:t>
            </a:r>
            <a:r>
              <a:rPr lang="es-ES" dirty="0" err="1"/>
              <a:t>teams</a:t>
            </a:r>
            <a:r>
              <a:rPr lang="es-E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7336376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THE STORY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FOCUS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AL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A87F58B-A76F-4220-9AE1-E4FFB5744AC9}"/>
              </a:ext>
            </a:extLst>
          </p:cNvPr>
          <p:cNvSpPr txBox="1">
            <a:spLocks/>
          </p:cNvSpPr>
          <p:nvPr/>
        </p:nvSpPr>
        <p:spPr bwMode="gray">
          <a:xfrm>
            <a:off x="574674" y="1157499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 marL="345597" indent="-345597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Introdu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setting</a:t>
            </a:r>
          </a:p>
          <a:p>
            <a:pPr defTabSz="914400"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t"/>
          <a:lstStyle/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2.    Ris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happen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04017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3.    Turning point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ere does it become actionable</a:t>
            </a: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7823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4.    Fall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outcome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07382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5.    Resolu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How it ends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0386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692</TotalTime>
  <Words>392</Words>
  <Application>Microsoft Office PowerPoint</Application>
  <PresentationFormat>Custom</PresentationFormat>
  <Paragraphs>127</Paragraphs>
  <Slides>21</Slides>
  <Notes>8</Notes>
  <HiddenSlides>0</HiddenSlides>
  <MMClips>2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4" baseType="lpstr">
      <vt:lpstr>AdihausDIN</vt:lpstr>
      <vt:lpstr>AdihausDIN C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APLC</vt:lpstr>
      <vt:lpstr>Team members</vt:lpstr>
      <vt:lpstr>AGENDA</vt:lpstr>
      <vt:lpstr>THE STORY - MAKE IT RELATABLE</vt:lpstr>
      <vt:lpstr>THE STORY - MAKE IT RELATABLE</vt:lpstr>
      <vt:lpstr>THE STORY - MAKE IT RELATABLE</vt:lpstr>
      <vt:lpstr>THE STORY - MAKE IT RELATABLE</vt:lpstr>
      <vt:lpstr>THE STORY - MAKE IT RELATABLE</vt:lpstr>
      <vt:lpstr>THE STORY</vt:lpstr>
      <vt:lpstr>FOCUS</vt:lpstr>
      <vt:lpstr>VALUE</vt:lpstr>
      <vt:lpstr>MAKE IT RE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member</vt:lpstr>
      <vt:lpstr>ShoW</vt:lpstr>
      <vt:lpstr>Judging criteria</vt:lpstr>
      <vt:lpstr>ru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Jorge Romanos</cp:lastModifiedBy>
  <cp:revision>142</cp:revision>
  <cp:lastPrinted>2015-05-04T06:43:15Z</cp:lastPrinted>
  <dcterms:created xsi:type="dcterms:W3CDTF">2019-03-09T19:27:14Z</dcterms:created>
  <dcterms:modified xsi:type="dcterms:W3CDTF">2019-03-24T06:06:23Z</dcterms:modified>
  <dc:language>English-UK</dc:language>
</cp:coreProperties>
</file>